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70" r:id="rId3"/>
    <p:sldId id="271" r:id="rId4"/>
    <p:sldId id="272" r:id="rId5"/>
    <p:sldId id="262" r:id="rId6"/>
    <p:sldId id="258" r:id="rId7"/>
    <p:sldId id="276" r:id="rId8"/>
    <p:sldId id="275" r:id="rId9"/>
  </p:sldIdLst>
  <p:sldSz cx="9144000" cy="6858000" type="screen4x3"/>
  <p:notesSz cx="6797675" cy="9926638"/>
  <p:embeddedFontLst>
    <p:embeddedFont>
      <p:font typeface="_Entypo" panose="020B0604020202020204" charset="0"/>
      <p:regular r:id="rId10"/>
    </p:embeddedFon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Myriad Pro Cond" panose="020B0506030403020204" charset="0"/>
      <p:regular r:id="rId15"/>
      <p:bold r:id="rId16"/>
      <p:italic r:id="rId17"/>
      <p:boldItalic r:id="rId18"/>
    </p:embeddedFont>
    <p:embeddedFont>
      <p:font typeface="Tahoma" panose="020B0604030504040204" pitchFamily="34" charset="0"/>
      <p:regular r:id="rId19"/>
      <p:bold r:id="rId20"/>
    </p:embeddedFont>
    <p:embeddedFont>
      <p:font typeface="HeliosCond" panose="04000500000000000000" charset="-52"/>
      <p:regular r:id="rId21"/>
      <p:bold r:id="rId22"/>
      <p:italic r:id="rId23"/>
      <p:boldItalic r:id="rId24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07" userDrawn="1">
          <p15:clr>
            <a:srgbClr val="A4A3A4"/>
          </p15:clr>
        </p15:guide>
        <p15:guide id="2" pos="210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20000"/>
    <a:srgbClr val="263354"/>
    <a:srgbClr val="405252"/>
    <a:srgbClr val="3B3B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60" d="100"/>
          <a:sy n="60" d="100"/>
        </p:scale>
        <p:origin x="-78" y="-444"/>
      </p:cViewPr>
      <p:guideLst>
        <p:guide orient="horz" pos="1207"/>
        <p:guide pos="210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12.fntdata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24" Type="http://schemas.openxmlformats.org/officeDocument/2006/relationships/font" Target="fonts/font15.fntdata"/><Relationship Id="rId5" Type="http://schemas.openxmlformats.org/officeDocument/2006/relationships/slide" Target="slides/slide4.xml"/><Relationship Id="rId15" Type="http://schemas.openxmlformats.org/officeDocument/2006/relationships/font" Target="fonts/font6.fntdata"/><Relationship Id="rId23" Type="http://schemas.openxmlformats.org/officeDocument/2006/relationships/font" Target="fonts/font14.fntdata"/><Relationship Id="rId28" Type="http://schemas.openxmlformats.org/officeDocument/2006/relationships/tableStyles" Target="tableStyle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5.fntdata"/><Relationship Id="rId22" Type="http://schemas.openxmlformats.org/officeDocument/2006/relationships/font" Target="fonts/font13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06187246810505E-2"/>
          <c:y val="0.1456429367304147"/>
          <c:w val="0.52036515275021811"/>
          <c:h val="0.71930060836006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821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26D-46AE-BD1F-805F70D07D8E}"/>
              </c:ext>
            </c:extLst>
          </c:dPt>
          <c:dPt>
            <c:idx val="1"/>
            <c:bubble3D val="0"/>
            <c:spPr>
              <a:solidFill>
                <a:srgbClr val="00469B"/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26D-46AE-BD1F-805F70D07D8E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26D-46AE-BD1F-805F70D07D8E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26D-46AE-BD1F-805F70D07D8E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7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26D-46AE-BD1F-805F70D07D8E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numFmt formatCode="General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</a:p>
                  <a:p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26D-46AE-BD1F-805F70D07D8E}"/>
                </c:ext>
                <c:ext xmlns:c15="http://schemas.microsoft.com/office/drawing/2012/chart" uri="{CE6537A1-D6FC-4f65-9D91-7224C49458BB}"/>
              </c:extLst>
            </c:dLbl>
            <c:numFmt formatCode="General" sourceLinked="0"/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Инициатор</c:v>
                </c:pt>
                <c:pt idx="1">
                  <c:v>РФПИ</c:v>
                </c:pt>
                <c:pt idx="2">
                  <c:v>Регион</c:v>
                </c:pt>
                <c:pt idx="3">
                  <c:v>Банки / Со-инвестор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 formatCode="0.0">
                  <c:v>150</c:v>
                </c:pt>
                <c:pt idx="3" formatCode="0.0">
                  <c:v>3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26D-46AE-BD1F-805F70D07D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egendEntry>
        <c:idx val="1"/>
        <c:delete val="1"/>
      </c:legendEntry>
      <c:legendEntry>
        <c:idx val="2"/>
        <c:delete val="1"/>
      </c:legendEntry>
      <c:layout>
        <c:manualLayout>
          <c:xMode val="edge"/>
          <c:yMode val="edge"/>
          <c:x val="0.53556192250533552"/>
          <c:y val="0.34826983325096328"/>
          <c:w val="0.45091744474192474"/>
          <c:h val="0.32034852577958511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406187246810505E-2"/>
          <c:y val="0.1456429367304147"/>
          <c:w val="0.52036515275021811"/>
          <c:h val="0.7193006083600603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E821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E0A-44A7-BD5C-CB0A2F32CE8A}"/>
              </c:ext>
            </c:extLst>
          </c:dPt>
          <c:dPt>
            <c:idx val="1"/>
            <c:bubble3D val="0"/>
            <c:spPr>
              <a:solidFill>
                <a:srgbClr val="00469B"/>
              </a:solidFill>
              <a:ln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E0A-44A7-BD5C-CB0A2F32CE8A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E0A-44A7-BD5C-CB0A2F32CE8A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E0A-44A7-BD5C-CB0A2F32CE8A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4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E0A-44A7-BD5C-CB0A2F32CE8A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 dirty="0" smtClean="0"/>
                      <a:t>34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E0A-44A7-BD5C-CB0A2F32CE8A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0E0A-44A7-BD5C-CB0A2F32CE8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4"/>
                <c:pt idx="0">
                  <c:v>Оборудование</c:v>
                </c:pt>
                <c:pt idx="1">
                  <c:v>Строительство</c:v>
                </c:pt>
                <c:pt idx="2">
                  <c:v>Земельный участок</c:v>
                </c:pt>
                <c:pt idx="3">
                  <c:v>Транспорт</c:v>
                </c:pt>
              </c:strCache>
            </c:strRef>
          </c:cat>
          <c:val>
            <c:numRef>
              <c:f>Лист1!$B$2:$B$6</c:f>
              <c:numCache>
                <c:formatCode>0</c:formatCode>
                <c:ptCount val="5"/>
                <c:pt idx="0">
                  <c:v>276</c:v>
                </c:pt>
                <c:pt idx="1">
                  <c:v>153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E0A-44A7-BD5C-CB0A2F32CE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53556192250533552"/>
          <c:y val="4.6176375056445305E-2"/>
          <c:w val="0.46443807749466454"/>
          <c:h val="0.95382362494355466"/>
        </c:manualLayout>
      </c:layout>
      <c:overlay val="0"/>
      <c:txPr>
        <a:bodyPr/>
        <a:lstStyle/>
        <a:p>
          <a:pPr>
            <a:defRPr sz="10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39349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82233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813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5541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36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6106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04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353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766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4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7759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C3DB68-48A6-4BD4-8F48-AAADA9C9FE92}" type="datetimeFigureOut">
              <a:rPr lang="ru-RU" smtClean="0"/>
              <a:t>27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2B90C3-34E9-47BB-BF57-6DFA0E8AB6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5510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8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0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9.png"/><Relationship Id="rId8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5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4760"/>
            <a:ext cx="9144000" cy="67324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733750" y="2742613"/>
            <a:ext cx="5857875" cy="740815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СТРОИТЕЛЬСТВО ЗАВОДА ПО ПЕРЕРАБОТКЕ ПОЛИМЕРОВ: </a:t>
            </a:r>
          </a:p>
          <a:p>
            <a:pPr algn="ctr"/>
            <a:r>
              <a:rPr lang="ru-RU" sz="2000" b="1" dirty="0" smtClean="0">
                <a:solidFill>
                  <a:schemeClr val="accent3">
                    <a:lumMod val="50000"/>
                  </a:schemeClr>
                </a:solidFill>
              </a:rPr>
              <a:t>Тканая упаковка</a:t>
            </a:r>
            <a:endParaRPr lang="ru-RU" sz="20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35067" y="5569766"/>
            <a:ext cx="8489483" cy="0"/>
          </a:xfrm>
          <a:prstGeom prst="line">
            <a:avLst/>
          </a:prstGeom>
          <a:ln w="158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6521345" y="4845532"/>
            <a:ext cx="2305052" cy="55847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en-US" sz="3600" b="1" dirty="0">
                <a:solidFill>
                  <a:schemeClr val="accent3">
                    <a:lumMod val="50000"/>
                  </a:schemeClr>
                </a:solidFill>
              </a:rPr>
              <a:t>2020</a:t>
            </a:r>
            <a:endParaRPr lang="ru-RU" sz="36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63997" y="5687496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</a:rPr>
              <a:t>Калужская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</a:rPr>
              <a:t>область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0" y="6291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0" y="6267974"/>
            <a:ext cx="9144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65079" y="970687"/>
            <a:ext cx="3962400" cy="33150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r"/>
            <a:r>
              <a:rPr lang="ru-RU" sz="1400" b="1" i="1" dirty="0">
                <a:solidFill>
                  <a:srgbClr val="820000"/>
                </a:solidFill>
              </a:rPr>
              <a:t>МАКЕТ  ИНВЕСТИЦИОННОГО  ПРЕДЛОЖЕНИЯ</a:t>
            </a:r>
          </a:p>
        </p:txBody>
      </p:sp>
    </p:spTree>
    <p:extLst>
      <p:ext uri="{BB962C8B-B14F-4D97-AF65-F5344CB8AC3E}">
        <p14:creationId xmlns:p14="http://schemas.microsoft.com/office/powerpoint/2010/main" val="2404705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0" y="-2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9388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РЕЗЮМЕ ПРОЕКТА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850053" y="876022"/>
            <a:ext cx="4231168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КЛЮЧЕВЫЕ ПОКАЗАТЕЛИ ПРОЕКТ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23132" y="4933771"/>
            <a:ext cx="4381915" cy="138629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млн руб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– потребность в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емных средствах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0975" indent="-180975"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орма: кред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 сумму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млн руб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на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со ставкой не более 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,5%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.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23133" y="4933770"/>
            <a:ext cx="437689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ТРЕБНОСТЬ В ИНВЕСТИЦИЯХ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23133" y="886897"/>
            <a:ext cx="4447221" cy="124042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ство завода по производству тканой упаковки (рафия)</a:t>
            </a:r>
          </a:p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ь – 12 </a:t>
            </a:r>
            <a:r>
              <a:rPr lang="ru-RU" sz="1050" dirty="0" err="1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ыс</a:t>
            </a: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тонн в год</a:t>
            </a: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3134" y="876022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463" y="922838"/>
            <a:ext cx="317019" cy="31701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007" y="4970271"/>
            <a:ext cx="347502" cy="3475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3666" y="925909"/>
            <a:ext cx="317019" cy="310923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238958" y="2629309"/>
            <a:ext cx="4447221" cy="216616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38959" y="2618435"/>
            <a:ext cx="4447221" cy="411276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СТРУКТУРА ИНВЕСТИЦИИ</a:t>
            </a: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9288" y="2665251"/>
            <a:ext cx="317019" cy="317019"/>
          </a:xfrm>
          <a:prstGeom prst="rect">
            <a:avLst/>
          </a:prstGeom>
        </p:spPr>
      </p:pic>
      <p:graphicFrame>
        <p:nvGraphicFramePr>
          <p:cNvPr id="26" name="Диаграмма 35"/>
          <p:cNvGraphicFramePr/>
          <p:nvPr>
            <p:extLst>
              <p:ext uri="{D42A27DB-BD31-4B8C-83A1-F6EECF244321}">
                <p14:modId xmlns:p14="http://schemas.microsoft.com/office/powerpoint/2010/main" val="3097942546"/>
              </p:ext>
            </p:extLst>
          </p:nvPr>
        </p:nvGraphicFramePr>
        <p:xfrm>
          <a:off x="316007" y="3105745"/>
          <a:ext cx="2268311" cy="1640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Диаграмма 73"/>
          <p:cNvGraphicFramePr/>
          <p:nvPr>
            <p:extLst>
              <p:ext uri="{D42A27DB-BD31-4B8C-83A1-F6EECF244321}">
                <p14:modId xmlns:p14="http://schemas.microsoft.com/office/powerpoint/2010/main" val="2230167495"/>
              </p:ext>
            </p:extLst>
          </p:nvPr>
        </p:nvGraphicFramePr>
        <p:xfrm>
          <a:off x="2402043" y="3092109"/>
          <a:ext cx="2268311" cy="1640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626307" y="3697157"/>
            <a:ext cx="780628" cy="430871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  <a:cs typeface="Arial" panose="020B0604020202020204" pitchFamily="34" charset="0"/>
              </a:rPr>
              <a:t>9</a:t>
            </a:r>
            <a:r>
              <a:rPr lang="ru-RU" sz="1400" b="1" dirty="0" smtClean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0</a:t>
            </a:r>
            <a:endParaRPr lang="ru-RU" sz="14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800" dirty="0" smtClean="0">
                <a:cs typeface="Arial" panose="020B0604020202020204" pitchFamily="34" charset="0"/>
              </a:rPr>
              <a:t>м</a:t>
            </a:r>
            <a:r>
              <a:rPr lang="ru-RU" sz="800" dirty="0" smtClean="0">
                <a:latin typeface="+mn-lt"/>
                <a:cs typeface="Arial" panose="020B0604020202020204" pitchFamily="34" charset="0"/>
              </a:rPr>
              <a:t>лн руб</a:t>
            </a:r>
            <a:r>
              <a:rPr lang="ru-RU" sz="800" dirty="0">
                <a:latin typeface="+mn-lt"/>
                <a:cs typeface="Arial" panose="020B0604020202020204" pitchFamily="34" charset="0"/>
              </a:rPr>
              <a:t>.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665778" y="3666549"/>
            <a:ext cx="780628" cy="430871"/>
          </a:xfrm>
          <a:prstGeom prst="rect">
            <a:avLst/>
          </a:prstGeom>
          <a:noFill/>
        </p:spPr>
        <p:txBody>
          <a:bodyPr wrap="square" lIns="91423" tIns="45712" rIns="91423" bIns="45712" rtlCol="0">
            <a:spAutoFit/>
          </a:bodyPr>
          <a:lstStyle/>
          <a:p>
            <a:pPr algn="ctr"/>
            <a:r>
              <a:rPr lang="ru-RU" sz="1400" b="1" dirty="0">
                <a:solidFill>
                  <a:prstClr val="black"/>
                </a:solidFill>
                <a:cs typeface="Arial" panose="020B0604020202020204" pitchFamily="34" charset="0"/>
              </a:rPr>
              <a:t>9</a:t>
            </a:r>
            <a:r>
              <a:rPr lang="ru-RU" sz="1400" b="1" dirty="0" smtClean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0</a:t>
            </a:r>
            <a:endParaRPr lang="ru-RU" sz="14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 algn="ctr"/>
            <a:r>
              <a:rPr lang="ru-RU" sz="800" dirty="0">
                <a:cs typeface="Arial" panose="020B0604020202020204" pitchFamily="34" charset="0"/>
              </a:rPr>
              <a:t>м</a:t>
            </a:r>
            <a:r>
              <a:rPr lang="ru-RU" sz="800" dirty="0" smtClean="0">
                <a:latin typeface="+mn-lt"/>
                <a:cs typeface="Arial" panose="020B0604020202020204" pitchFamily="34" charset="0"/>
              </a:rPr>
              <a:t>лн руб</a:t>
            </a:r>
            <a:r>
              <a:rPr lang="ru-RU" sz="800" dirty="0">
                <a:latin typeface="+mn-lt"/>
                <a:cs typeface="Arial" panose="020B0604020202020204" pitchFamily="34" charset="0"/>
              </a:rPr>
              <a:t>.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7897522"/>
              </p:ext>
            </p:extLst>
          </p:nvPr>
        </p:nvGraphicFramePr>
        <p:xfrm>
          <a:off x="4863759" y="1285323"/>
          <a:ext cx="4217461" cy="4805092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2866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07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76186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Текущий статус 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азработка проекта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41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Ежегодная выручк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57,2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Общий объем инвестиций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90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1483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8,4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205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ентабельность 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EBITDA,</a:t>
                      </a:r>
                      <a:r>
                        <a:rPr lang="en-US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49,5</a:t>
                      </a:r>
                      <a:r>
                        <a:rPr lang="en-US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65741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NPV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48,96 млн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руб</a:t>
                      </a: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IRR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22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5742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PI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,27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тавка дисконтирования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2%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окупаемости</a:t>
                      </a:r>
                      <a:r>
                        <a:rPr lang="en-US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(DPBP)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6,3 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Период планирования проекта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9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лет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600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Срок строительства </a:t>
                      </a:r>
                      <a:r>
                        <a:rPr lang="ru-RU" sz="1500" b="1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завода 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14</a:t>
                      </a:r>
                      <a:r>
                        <a:rPr lang="ru-RU" sz="1500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</a:rPr>
                        <a:t> месяцев</a:t>
                      </a:r>
                      <a:endParaRPr lang="ru-RU" sz="1500" b="1" dirty="0">
                        <a:solidFill>
                          <a:schemeClr val="accent3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525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838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805497"/>
            <a:ext cx="9144000" cy="3771979"/>
          </a:xfrm>
          <a:prstGeom prst="rect">
            <a:avLst/>
          </a:prstGeom>
          <a:solidFill>
            <a:schemeClr val="bg1">
              <a:lumMod val="95000"/>
              <a:alpha val="55000"/>
            </a:schemeClr>
          </a:solidFill>
        </p:spPr>
        <p:txBody>
          <a:bodyPr wrap="square" lIns="108000" tIns="108000" rIns="324000" bIns="108000">
            <a:noAutofit/>
          </a:bodyPr>
          <a:lstStyle/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фия — это натуральное волокно, которое производят из листьев пальмы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aphia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arinifera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Полипропилен рафия получил свое название из-за сходства с поделочным материалом из пальмы рафии. Если естественный материал довольно хрупкий, то искусственные нити обладают достаточной прочностью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пилен образуется путем каталитической полимеризации, на основе катализатора из солей алюминия и титана. Иногда в качестве катализатора используется ванадий. Первый прорыв в области создания пропилена произошел в Италии, в 1954 году. С помощью модифицированного катализатора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иглера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профессор Дж. </a:t>
            </a:r>
            <a:r>
              <a:rPr lang="ru-RU" sz="1100" dirty="0" err="1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тта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с коллегами выработал кристаллический полимер пропилена. И уже в 1957 году был налажен промышленный выпуск этой продукции в Италии. </a:t>
            </a:r>
            <a:endParaRPr lang="ru-RU" sz="1100" dirty="0" smtClean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8287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</a:pP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ru-RU" sz="1100" b="1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СНОВНЫЕ СВОЙСТВА РАФИЯ:</a:t>
            </a:r>
          </a:p>
          <a:p>
            <a:pPr lvl="2"/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ысокая </a:t>
            </a:r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чность;</a:t>
            </a:r>
          </a:p>
          <a:p>
            <a:pPr lvl="2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емлемая цена;</a:t>
            </a:r>
          </a:p>
          <a:p>
            <a:pPr lvl="2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е рвется, не ломается, достаточно гибкая;</a:t>
            </a:r>
          </a:p>
          <a:p>
            <a:pPr lvl="2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зносостойкость;</a:t>
            </a:r>
          </a:p>
          <a:p>
            <a:pPr lvl="2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ойкость к химическим воздействиям (щелочи, кислоты, масла, растворы солей);</a:t>
            </a:r>
          </a:p>
          <a:p>
            <a:pPr lvl="2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одостойкость;</a:t>
            </a:r>
          </a:p>
          <a:p>
            <a:pPr lvl="2"/>
            <a:r>
              <a:rPr lang="ru-RU" sz="11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Безопасен в использовании.</a:t>
            </a:r>
          </a:p>
          <a:p>
            <a:pPr marL="536575" indent="-268288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10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4325" y="172522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ОПИСАНИЕ ПРОЕКТА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830573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0" y="5577476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ятиугольник 30"/>
          <p:cNvSpPr/>
          <p:nvPr/>
        </p:nvSpPr>
        <p:spPr>
          <a:xfrm>
            <a:off x="215912" y="848796"/>
            <a:ext cx="2747539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11" y="925828"/>
            <a:ext cx="426070" cy="42607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07621" y="848795"/>
            <a:ext cx="2255830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Местонахождение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Калужская область 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3178708" y="848797"/>
            <a:ext cx="2586771" cy="870946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71072" y="848795"/>
            <a:ext cx="2094407" cy="6990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Отрасль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</a:rPr>
              <a:t>полимерная продукция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567" y="912566"/>
            <a:ext cx="307472" cy="307472"/>
          </a:xfrm>
          <a:prstGeom prst="rect">
            <a:avLst/>
          </a:prstGeom>
        </p:spPr>
      </p:pic>
      <p:sp>
        <p:nvSpPr>
          <p:cNvPr id="40" name="Пятиугольник 39"/>
          <p:cNvSpPr/>
          <p:nvPr/>
        </p:nvSpPr>
        <p:spPr>
          <a:xfrm>
            <a:off x="5984191" y="848796"/>
            <a:ext cx="2933306" cy="870947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6473100" y="848795"/>
            <a:ext cx="2444397" cy="8709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Тип проекта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Создание нового производства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015" y="885916"/>
            <a:ext cx="369680" cy="369680"/>
          </a:xfrm>
          <a:prstGeom prst="rect">
            <a:avLst/>
          </a:prstGeom>
        </p:spPr>
      </p:pic>
      <p:sp>
        <p:nvSpPr>
          <p:cNvPr id="46" name="Пятиугольник 45"/>
          <p:cNvSpPr/>
          <p:nvPr/>
        </p:nvSpPr>
        <p:spPr>
          <a:xfrm>
            <a:off x="4603354" y="5762229"/>
            <a:ext cx="4314143" cy="946578"/>
          </a:xfrm>
          <a:prstGeom prst="homePlate">
            <a:avLst>
              <a:gd name="adj" fmla="val 0"/>
            </a:avLst>
          </a:prstGeom>
          <a:solidFill>
            <a:schemeClr val="accent6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>
              <a:lnSpc>
                <a:spcPct val="114000"/>
              </a:lnSpc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084917" y="5762228"/>
            <a:ext cx="3832580" cy="9465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>
              <a:lnSpc>
                <a:spcPct val="114000"/>
              </a:lnSpc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ектная мощность в год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: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b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</a:br>
            <a:r>
              <a:rPr lang="ru-RU" sz="1100" dirty="0" smtClean="0">
                <a:solidFill>
                  <a:schemeClr val="accent3">
                    <a:lumMod val="50000"/>
                  </a:schemeClr>
                </a:solidFill>
                <a:cs typeface="Times New Roman" panose="02020603050405020304" pitchFamily="18" charset="0"/>
              </a:rPr>
              <a:t>12 тыс. тонн в год</a:t>
            </a: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7402" y="5847982"/>
            <a:ext cx="306391" cy="306391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263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Рисунок 86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539" y="1847596"/>
            <a:ext cx="5230445" cy="4800067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710601" y="1044300"/>
            <a:ext cx="2426078" cy="1104726"/>
            <a:chOff x="3114582" y="1489132"/>
            <a:chExt cx="2426078" cy="1104726"/>
          </a:xfrm>
        </p:grpSpPr>
        <p:sp>
          <p:nvSpPr>
            <p:cNvPr id="89" name="Прямоугольник 88"/>
            <p:cNvSpPr/>
            <p:nvPr/>
          </p:nvSpPr>
          <p:spPr>
            <a:xfrm>
              <a:off x="3358652" y="1489132"/>
              <a:ext cx="2182008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олее </a:t>
              </a:r>
              <a:r>
                <a:rPr lang="ru-RU" sz="4400" b="1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рлн</a:t>
              </a:r>
              <a:r>
                <a:rPr lang="ru-RU" sz="20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уб.</a:t>
              </a:r>
              <a:endPara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0" name="Прямоугольник 89"/>
            <p:cNvSpPr/>
            <p:nvPr/>
          </p:nvSpPr>
          <p:spPr>
            <a:xfrm>
              <a:off x="3114582" y="2162971"/>
              <a:ext cx="2231666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объем инвестиций </a:t>
              </a:r>
            </a:p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с </a:t>
              </a:r>
              <a:r>
                <a:rPr lang="en-US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2006</a:t>
              </a:r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 года</a:t>
              </a:r>
            </a:p>
          </p:txBody>
        </p:sp>
      </p:grpSp>
      <p:grpSp>
        <p:nvGrpSpPr>
          <p:cNvPr id="91" name="Группа 90"/>
          <p:cNvGrpSpPr/>
          <p:nvPr/>
        </p:nvGrpSpPr>
        <p:grpSpPr>
          <a:xfrm>
            <a:off x="5228928" y="1044300"/>
            <a:ext cx="1616879" cy="1274003"/>
            <a:chOff x="605884" y="2717162"/>
            <a:chExt cx="1616879" cy="1274003"/>
          </a:xfrm>
        </p:grpSpPr>
        <p:sp>
          <p:nvSpPr>
            <p:cNvPr id="92" name="Прямоугольник 91"/>
            <p:cNvSpPr/>
            <p:nvPr/>
          </p:nvSpPr>
          <p:spPr>
            <a:xfrm>
              <a:off x="783381" y="2717162"/>
              <a:ext cx="1261884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4400" b="1" dirty="0" smtClean="0">
                  <a:latin typeface="Tahoma" pitchFamily="34" charset="0"/>
                  <a:ea typeface="Tahoma" pitchFamily="34" charset="0"/>
                  <a:cs typeface="Tahoma" pitchFamily="34" charset="0"/>
                </a:rPr>
                <a:t>212</a:t>
              </a: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605884" y="3391001"/>
              <a:ext cx="1616879" cy="6001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инвестиционных</a:t>
              </a:r>
              <a:endParaRPr lang="en-US" sz="11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проектов</a:t>
              </a:r>
            </a:p>
            <a:p>
              <a:pPr algn="ctr"/>
              <a:r>
                <a:rPr lang="ru-RU" sz="1100" dirty="0">
                  <a:latin typeface="Tahoma" pitchFamily="34" charset="0"/>
                  <a:ea typeface="Tahoma" pitchFamily="34" charset="0"/>
                  <a:cs typeface="Tahoma" pitchFamily="34" charset="0"/>
                </a:rPr>
                <a:t>реализуется</a:t>
              </a:r>
              <a:endParaRPr lang="en-US" sz="1100" dirty="0"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204070" y="794020"/>
            <a:ext cx="4733777" cy="3679772"/>
            <a:chOff x="204070" y="794020"/>
            <a:chExt cx="4733777" cy="3679772"/>
          </a:xfrm>
        </p:grpSpPr>
        <p:pic>
          <p:nvPicPr>
            <p:cNvPr id="52" name="Рисунок 51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070" y="794020"/>
              <a:ext cx="3817735" cy="1951860"/>
            </a:xfrm>
            <a:prstGeom prst="rect">
              <a:avLst/>
            </a:prstGeom>
          </p:spPr>
        </p:pic>
        <p:pic>
          <p:nvPicPr>
            <p:cNvPr id="53" name="Рисунок 52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61593" y="1847596"/>
              <a:ext cx="2723455" cy="2238966"/>
            </a:xfrm>
            <a:prstGeom prst="rect">
              <a:avLst/>
            </a:prstGeom>
          </p:spPr>
        </p:pic>
        <p:sp>
          <p:nvSpPr>
            <p:cNvPr id="54" name="Овал 53"/>
            <p:cNvSpPr/>
            <p:nvPr>
              <p:custDataLst>
                <p:tags r:id="rId3"/>
              </p:custDataLst>
            </p:nvPr>
          </p:nvSpPr>
          <p:spPr>
            <a:xfrm>
              <a:off x="3997149" y="2579364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вал 54"/>
            <p:cNvSpPr/>
            <p:nvPr>
              <p:custDataLst>
                <p:tags r:id="rId4"/>
              </p:custDataLst>
            </p:nvPr>
          </p:nvSpPr>
          <p:spPr>
            <a:xfrm>
              <a:off x="3873131" y="2756132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Овал 55"/>
            <p:cNvSpPr/>
            <p:nvPr>
              <p:custDataLst>
                <p:tags r:id="rId5"/>
              </p:custDataLst>
            </p:nvPr>
          </p:nvSpPr>
          <p:spPr>
            <a:xfrm>
              <a:off x="3634728" y="2820805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Овал 56"/>
            <p:cNvSpPr/>
            <p:nvPr>
              <p:custDataLst>
                <p:tags r:id="rId6"/>
              </p:custDataLst>
            </p:nvPr>
          </p:nvSpPr>
          <p:spPr>
            <a:xfrm>
              <a:off x="3238613" y="3527811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Овал 57"/>
            <p:cNvSpPr/>
            <p:nvPr>
              <p:custDataLst>
                <p:tags r:id="rId7"/>
              </p:custDataLst>
            </p:nvPr>
          </p:nvSpPr>
          <p:spPr>
            <a:xfrm>
              <a:off x="3076422" y="2934743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Овал 58"/>
            <p:cNvSpPr/>
            <p:nvPr>
              <p:custDataLst>
                <p:tags r:id="rId8"/>
              </p:custDataLst>
            </p:nvPr>
          </p:nvSpPr>
          <p:spPr>
            <a:xfrm>
              <a:off x="2954067" y="2685410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Овал 59"/>
            <p:cNvSpPr/>
            <p:nvPr>
              <p:custDataLst>
                <p:tags r:id="rId9"/>
              </p:custDataLst>
            </p:nvPr>
          </p:nvSpPr>
          <p:spPr>
            <a:xfrm>
              <a:off x="3354672" y="2233664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Овал 60"/>
            <p:cNvSpPr/>
            <p:nvPr>
              <p:custDataLst>
                <p:tags r:id="rId10"/>
              </p:custDataLst>
            </p:nvPr>
          </p:nvSpPr>
          <p:spPr>
            <a:xfrm>
              <a:off x="2669522" y="2298337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Овал 61"/>
            <p:cNvSpPr/>
            <p:nvPr>
              <p:custDataLst>
                <p:tags r:id="rId11"/>
              </p:custDataLst>
            </p:nvPr>
          </p:nvSpPr>
          <p:spPr>
            <a:xfrm>
              <a:off x="2552731" y="2750083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Овал 62"/>
            <p:cNvSpPr/>
            <p:nvPr>
              <p:custDataLst>
                <p:tags r:id="rId12"/>
              </p:custDataLst>
            </p:nvPr>
          </p:nvSpPr>
          <p:spPr>
            <a:xfrm>
              <a:off x="2707554" y="2981565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Овал 63"/>
            <p:cNvSpPr/>
            <p:nvPr>
              <p:custDataLst>
                <p:tags r:id="rId13"/>
              </p:custDataLst>
            </p:nvPr>
          </p:nvSpPr>
          <p:spPr>
            <a:xfrm>
              <a:off x="2484229" y="3192598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Овал 64"/>
            <p:cNvSpPr/>
            <p:nvPr>
              <p:custDataLst>
                <p:tags r:id="rId14"/>
              </p:custDataLst>
            </p:nvPr>
          </p:nvSpPr>
          <p:spPr>
            <a:xfrm>
              <a:off x="2419556" y="3439864"/>
              <a:ext cx="64673" cy="64673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TextBox 65"/>
            <p:cNvSpPr txBox="1"/>
            <p:nvPr>
              <p:custDataLst>
                <p:tags r:id="rId15"/>
              </p:custDataLst>
            </p:nvPr>
          </p:nvSpPr>
          <p:spPr>
            <a:xfrm>
              <a:off x="3629342" y="2284953"/>
              <a:ext cx="6222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Ярославль</a:t>
              </a:r>
            </a:p>
          </p:txBody>
        </p:sp>
        <p:sp>
          <p:nvSpPr>
            <p:cNvPr id="67" name="TextBox 66"/>
            <p:cNvSpPr txBox="1"/>
            <p:nvPr>
              <p:custDataLst>
                <p:tags r:id="rId16"/>
              </p:custDataLst>
            </p:nvPr>
          </p:nvSpPr>
          <p:spPr>
            <a:xfrm>
              <a:off x="3994768" y="2486129"/>
              <a:ext cx="59984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Кострома</a:t>
              </a:r>
            </a:p>
          </p:txBody>
        </p:sp>
        <p:sp>
          <p:nvSpPr>
            <p:cNvPr id="68" name="TextBox 67"/>
            <p:cNvSpPr txBox="1"/>
            <p:nvPr>
              <p:custDataLst>
                <p:tags r:id="rId17"/>
              </p:custDataLst>
            </p:nvPr>
          </p:nvSpPr>
          <p:spPr>
            <a:xfrm>
              <a:off x="3391205" y="2944009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Рязань</a:t>
              </a:r>
            </a:p>
          </p:txBody>
        </p:sp>
        <p:sp>
          <p:nvSpPr>
            <p:cNvPr id="69" name="TextBox 68"/>
            <p:cNvSpPr txBox="1"/>
            <p:nvPr>
              <p:custDataLst>
                <p:tags r:id="rId18"/>
              </p:custDataLst>
            </p:nvPr>
          </p:nvSpPr>
          <p:spPr>
            <a:xfrm>
              <a:off x="3037074" y="3237885"/>
              <a:ext cx="4892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Липецк</a:t>
              </a:r>
            </a:p>
          </p:txBody>
        </p:sp>
        <p:sp>
          <p:nvSpPr>
            <p:cNvPr id="70" name="TextBox 69"/>
            <p:cNvSpPr txBox="1"/>
            <p:nvPr>
              <p:custDataLst>
                <p:tags r:id="rId19"/>
              </p:custDataLst>
            </p:nvPr>
          </p:nvSpPr>
          <p:spPr>
            <a:xfrm>
              <a:off x="2547663" y="3505597"/>
              <a:ext cx="55496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Воронеж</a:t>
              </a:r>
            </a:p>
          </p:txBody>
        </p:sp>
        <p:sp>
          <p:nvSpPr>
            <p:cNvPr id="71" name="TextBox 70"/>
            <p:cNvSpPr txBox="1"/>
            <p:nvPr>
              <p:custDataLst>
                <p:tags r:id="rId20"/>
              </p:custDataLst>
            </p:nvPr>
          </p:nvSpPr>
          <p:spPr>
            <a:xfrm>
              <a:off x="3246233" y="3428658"/>
              <a:ext cx="49564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Тамбов</a:t>
              </a:r>
            </a:p>
          </p:txBody>
        </p:sp>
        <p:sp>
          <p:nvSpPr>
            <p:cNvPr id="72" name="TextBox 71"/>
            <p:cNvSpPr txBox="1"/>
            <p:nvPr>
              <p:custDataLst>
                <p:tags r:id="rId21"/>
              </p:custDataLst>
            </p:nvPr>
          </p:nvSpPr>
          <p:spPr>
            <a:xfrm>
              <a:off x="3178972" y="2039208"/>
              <a:ext cx="42832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Тверь</a:t>
              </a:r>
            </a:p>
          </p:txBody>
        </p:sp>
        <p:sp>
          <p:nvSpPr>
            <p:cNvPr id="73" name="TextBox 72"/>
            <p:cNvSpPr txBox="1"/>
            <p:nvPr>
              <p:custDataLst>
                <p:tags r:id="rId22"/>
              </p:custDataLst>
            </p:nvPr>
          </p:nvSpPr>
          <p:spPr>
            <a:xfrm>
              <a:off x="2272926" y="2104673"/>
              <a:ext cx="58381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Смоленск</a:t>
              </a:r>
            </a:p>
          </p:txBody>
        </p:sp>
        <p:sp>
          <p:nvSpPr>
            <p:cNvPr id="74" name="TextBox 73"/>
            <p:cNvSpPr txBox="1"/>
            <p:nvPr>
              <p:custDataLst>
                <p:tags r:id="rId23"/>
              </p:custDataLst>
            </p:nvPr>
          </p:nvSpPr>
          <p:spPr>
            <a:xfrm>
              <a:off x="2159760" y="2640479"/>
              <a:ext cx="4732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Брянск</a:t>
              </a:r>
            </a:p>
          </p:txBody>
        </p:sp>
        <p:sp>
          <p:nvSpPr>
            <p:cNvPr id="75" name="TextBox 74"/>
            <p:cNvSpPr txBox="1"/>
            <p:nvPr>
              <p:custDataLst>
                <p:tags r:id="rId24"/>
              </p:custDataLst>
            </p:nvPr>
          </p:nvSpPr>
          <p:spPr>
            <a:xfrm>
              <a:off x="2670600" y="2675940"/>
              <a:ext cx="45878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Калуга</a:t>
              </a:r>
            </a:p>
          </p:txBody>
        </p:sp>
        <p:sp>
          <p:nvSpPr>
            <p:cNvPr id="76" name="TextBox 75"/>
            <p:cNvSpPr txBox="1"/>
            <p:nvPr>
              <p:custDataLst>
                <p:tags r:id="rId25"/>
              </p:custDataLst>
            </p:nvPr>
          </p:nvSpPr>
          <p:spPr>
            <a:xfrm>
              <a:off x="3071364" y="2828945"/>
              <a:ext cx="37061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Тула</a:t>
              </a:r>
            </a:p>
          </p:txBody>
        </p:sp>
        <p:sp>
          <p:nvSpPr>
            <p:cNvPr id="77" name="TextBox 76"/>
            <p:cNvSpPr txBox="1"/>
            <p:nvPr>
              <p:custDataLst>
                <p:tags r:id="rId26"/>
              </p:custDataLst>
            </p:nvPr>
          </p:nvSpPr>
          <p:spPr>
            <a:xfrm>
              <a:off x="3634728" y="2759095"/>
              <a:ext cx="60946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Владимир</a:t>
              </a:r>
            </a:p>
          </p:txBody>
        </p:sp>
        <p:sp>
          <p:nvSpPr>
            <p:cNvPr id="78" name="TextBox 77"/>
            <p:cNvSpPr txBox="1"/>
            <p:nvPr>
              <p:custDataLst>
                <p:tags r:id="rId27"/>
              </p:custDataLst>
            </p:nvPr>
          </p:nvSpPr>
          <p:spPr>
            <a:xfrm>
              <a:off x="3878310" y="2652958"/>
              <a:ext cx="54373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Иваново</a:t>
              </a:r>
            </a:p>
          </p:txBody>
        </p:sp>
        <p:sp>
          <p:nvSpPr>
            <p:cNvPr id="79" name="TextBox 78"/>
            <p:cNvSpPr txBox="1"/>
            <p:nvPr>
              <p:custDataLst>
                <p:tags r:id="rId28"/>
              </p:custDataLst>
            </p:nvPr>
          </p:nvSpPr>
          <p:spPr>
            <a:xfrm>
              <a:off x="2550198" y="2991752"/>
              <a:ext cx="38985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Орёл</a:t>
              </a:r>
            </a:p>
          </p:txBody>
        </p:sp>
        <p:sp>
          <p:nvSpPr>
            <p:cNvPr id="80" name="TextBox 79"/>
            <p:cNvSpPr txBox="1"/>
            <p:nvPr>
              <p:custDataLst>
                <p:tags r:id="rId29"/>
              </p:custDataLst>
            </p:nvPr>
          </p:nvSpPr>
          <p:spPr>
            <a:xfrm>
              <a:off x="2128297" y="3088537"/>
              <a:ext cx="41549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Курск</a:t>
              </a:r>
            </a:p>
          </p:txBody>
        </p:sp>
        <p:sp>
          <p:nvSpPr>
            <p:cNvPr id="81" name="TextBox 80"/>
            <p:cNvSpPr txBox="1"/>
            <p:nvPr>
              <p:custDataLst>
                <p:tags r:id="rId30"/>
              </p:custDataLst>
            </p:nvPr>
          </p:nvSpPr>
          <p:spPr>
            <a:xfrm>
              <a:off x="1994701" y="3247243"/>
              <a:ext cx="57419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000" dirty="0">
                  <a:latin typeface="Myriad Pro Cond" pitchFamily="34" charset="0"/>
                </a:rPr>
                <a:t>Белгород</a:t>
              </a:r>
            </a:p>
          </p:txBody>
        </p:sp>
        <p:sp>
          <p:nvSpPr>
            <p:cNvPr id="82" name="Овал 81"/>
            <p:cNvSpPr/>
            <p:nvPr>
              <p:custDataLst>
                <p:tags r:id="rId31"/>
              </p:custDataLst>
            </p:nvPr>
          </p:nvSpPr>
          <p:spPr>
            <a:xfrm>
              <a:off x="1953393" y="1489338"/>
              <a:ext cx="2984454" cy="2984454"/>
            </a:xfrm>
            <a:prstGeom prst="ellipse">
              <a:avLst/>
            </a:prstGeom>
            <a:noFill/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83" name="Прямая соединительная линия 82"/>
            <p:cNvCxnSpPr/>
            <p:nvPr>
              <p:custDataLst>
                <p:tags r:id="rId32"/>
              </p:custDataLst>
            </p:nvPr>
          </p:nvCxnSpPr>
          <p:spPr>
            <a:xfrm>
              <a:off x="976624" y="1982871"/>
              <a:ext cx="1199276" cy="1796559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Прямая соединительная линия 83"/>
            <p:cNvCxnSpPr/>
            <p:nvPr/>
          </p:nvCxnSpPr>
          <p:spPr>
            <a:xfrm flipV="1">
              <a:off x="984935" y="1519346"/>
              <a:ext cx="2191473" cy="463526"/>
            </a:xfrm>
            <a:prstGeom prst="line">
              <a:avLst/>
            </a:prstGeom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Овал 84"/>
            <p:cNvSpPr/>
            <p:nvPr/>
          </p:nvSpPr>
          <p:spPr>
            <a:xfrm>
              <a:off x="2934571" y="2659953"/>
              <a:ext cx="105536" cy="109740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6" name="Прямоугольник 85"/>
            <p:cNvSpPr/>
            <p:nvPr/>
          </p:nvSpPr>
          <p:spPr>
            <a:xfrm>
              <a:off x="3195244" y="2605130"/>
              <a:ext cx="246734" cy="158459"/>
            </a:xfrm>
            <a:prstGeom prst="rect">
              <a:avLst/>
            </a:prstGeom>
            <a:solidFill>
              <a:srgbClr val="BCBD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4" y="172522"/>
            <a:ext cx="58521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ОПОЛОЖЕНИЕ ПРОЕКТА,  ГРАФИК РЕАЛИЗАЦИИ </a:t>
            </a:r>
          </a:p>
        </p:txBody>
      </p:sp>
      <p:sp>
        <p:nvSpPr>
          <p:cNvPr id="35" name="Пятиугольник 34"/>
          <p:cNvSpPr/>
          <p:nvPr/>
        </p:nvSpPr>
        <p:spPr>
          <a:xfrm>
            <a:off x="623762" y="4414748"/>
            <a:ext cx="1905000" cy="358806"/>
          </a:xfrm>
          <a:prstGeom prst="homePlate">
            <a:avLst>
              <a:gd name="adj" fmla="val 15519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Разработка проектной документац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обретение участка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олучение разрешения на строительство</a:t>
            </a:r>
          </a:p>
        </p:txBody>
      </p:sp>
      <p:sp>
        <p:nvSpPr>
          <p:cNvPr id="36" name="Пятиугольник 35"/>
          <p:cNvSpPr/>
          <p:nvPr/>
        </p:nvSpPr>
        <p:spPr>
          <a:xfrm>
            <a:off x="658833" y="5429225"/>
            <a:ext cx="2711023" cy="820732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троительство объектов и инфраструктуры.</a:t>
            </a:r>
          </a:p>
          <a:p>
            <a:r>
              <a:rPr lang="ru-RU" sz="1000" dirty="0">
                <a:solidFill>
                  <a:schemeClr val="tx1"/>
                </a:solidFill>
              </a:rPr>
              <a:t>Увеличение мощности инженерных сетей</a:t>
            </a:r>
          </a:p>
          <a:p>
            <a:r>
              <a:rPr lang="ru-RU" sz="1000" dirty="0">
                <a:solidFill>
                  <a:schemeClr val="tx1"/>
                </a:solidFill>
              </a:rPr>
              <a:t>Привлечение финансирования</a:t>
            </a:r>
          </a:p>
        </p:txBody>
      </p:sp>
      <p:sp>
        <p:nvSpPr>
          <p:cNvPr id="37" name="Пятиугольник 36"/>
          <p:cNvSpPr/>
          <p:nvPr/>
        </p:nvSpPr>
        <p:spPr>
          <a:xfrm>
            <a:off x="2544958" y="4562901"/>
            <a:ext cx="1905000" cy="438151"/>
          </a:xfrm>
          <a:prstGeom prst="homePlate">
            <a:avLst>
              <a:gd name="adj" fmla="val 3108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Приобретение оборудования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Монтаж оборудования.</a:t>
            </a:r>
          </a:p>
        </p:txBody>
      </p:sp>
      <p:sp>
        <p:nvSpPr>
          <p:cNvPr id="38" name="Пятиугольник 37"/>
          <p:cNvSpPr/>
          <p:nvPr/>
        </p:nvSpPr>
        <p:spPr>
          <a:xfrm>
            <a:off x="2855190" y="5645470"/>
            <a:ext cx="1309734" cy="990264"/>
          </a:xfrm>
          <a:prstGeom prst="homePlate">
            <a:avLst>
              <a:gd name="adj" fmla="val 15691"/>
            </a:avLst>
          </a:prstGeom>
          <a:solidFill>
            <a:schemeClr val="bg1">
              <a:alpha val="7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Ввод в эксплуатацию завода.</a:t>
            </a:r>
          </a:p>
          <a:p>
            <a:r>
              <a:rPr lang="ru-RU" sz="1000" dirty="0">
                <a:solidFill>
                  <a:schemeClr val="tx1"/>
                </a:solidFill>
              </a:rPr>
              <a:t>Начало выпуска продукции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502206" y="4923762"/>
            <a:ext cx="4085112" cy="571500"/>
          </a:xfrm>
          <a:prstGeom prst="rightArrow">
            <a:avLst>
              <a:gd name="adj1" fmla="val 70000"/>
              <a:gd name="adj2" fmla="val 5000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736354" y="5014785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0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125575" y="5014785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514796" y="5014785"/>
            <a:ext cx="704850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2022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268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771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ОБЗОР ОТРАСЛ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3707" y="886896"/>
            <a:ext cx="4096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ление пропилена, тыс. т/г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555220" y="1197368"/>
            <a:ext cx="4274452" cy="1071559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/>
              <a:t>Рынок полипропилена характеризуется как динамично развивающийся </a:t>
            </a:r>
            <a:r>
              <a:rPr lang="en-US" sz="1050" dirty="0"/>
              <a:t>AGGR</a:t>
            </a:r>
            <a:r>
              <a:rPr lang="ru-RU" sz="400" dirty="0"/>
              <a:t>2011-2015</a:t>
            </a:r>
            <a:r>
              <a:rPr lang="en-US" sz="1050" dirty="0"/>
              <a:t> – 8%</a:t>
            </a:r>
            <a:endParaRPr lang="ru-RU" sz="1050" dirty="0"/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50" dirty="0"/>
              <a:t>Запуск новых производств полипропилена в 2013 г. ( в том числе Тобольск-Полимер производительностью 500 </a:t>
            </a:r>
            <a:r>
              <a:rPr lang="ru-RU" sz="1050" dirty="0" err="1"/>
              <a:t>тыс.т</a:t>
            </a:r>
            <a:r>
              <a:rPr lang="ru-RU" sz="1050" dirty="0"/>
              <a:t>./г) и выход на мощности в 2015 г. способствовал росту рынка потребления 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555219" y="2245970"/>
            <a:ext cx="4274452" cy="1494268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ефицит </a:t>
            </a: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щностей по производству  полиэтилена высокой плотности (ПЭВП) и линейного полиэтилена низкой плотности (ЛПЭНП) в РФ ограничивает развитие потребления данных типов полиэтилена, которые занимают долю более 70% от общего потребления ПЭ</a:t>
            </a:r>
          </a:p>
          <a:p>
            <a:pPr marL="176213" indent="-176213" algn="just">
              <a:lnSpc>
                <a:spcPct val="114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r>
              <a:rPr lang="ru-RU" sz="105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пуск ЗСНХ позволит покрыть неудовлетворенный спрос ПЭВП и ЛПЭНП и даст импульс к развитию переработки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4325" y="3684495"/>
            <a:ext cx="37442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ление полиолефинов в РФ, тыс. т/г</a:t>
            </a:r>
            <a:endParaRPr lang="ru-RU" sz="110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55221" y="814165"/>
            <a:ext cx="4274452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ЦЕЛЕСООБРАЗНОСТЬ РЕАЛИЗАЦИИ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517" y="981074"/>
            <a:ext cx="279961" cy="27996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3706" y="1321026"/>
            <a:ext cx="4204259" cy="213510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325" y="4258153"/>
            <a:ext cx="4297805" cy="2224652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4555219" y="4272010"/>
            <a:ext cx="4274452" cy="2210795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>
              <a:spcBef>
                <a:spcPts val="600"/>
              </a:spcBef>
            </a:pPr>
            <a:r>
              <a:rPr lang="ru-RU" sz="1050" dirty="0"/>
              <a:t>С конца </a:t>
            </a:r>
            <a:r>
              <a:rPr lang="ru-RU" sz="1050" dirty="0" smtClean="0"/>
              <a:t>февраля 2020 г. </a:t>
            </a:r>
            <a:r>
              <a:rPr lang="ru-RU" sz="1050" dirty="0"/>
              <a:t>спрос на полиэтилен высокого давления (ПВД) на российском рынке ощутимо вырос, начался постепенный рост цен. На прошлой неделе ограниченное предложение у ряда продавцов привело к наиболее ощутимому росту цен за последние несколько недель. После затяжного периода профицита, который отмечался в октябре - январе, к февралю текущего года российским производителям удалось сбалансировать внутренний рынок ПВД, в том числе и за счет роста экспортных продаж. С середины прошлого месяца избыток полиэтилена на рынке исчез, а цены </a:t>
            </a:r>
            <a:r>
              <a:rPr lang="ru-RU" sz="1050" dirty="0" smtClean="0"/>
              <a:t>начали расти</a:t>
            </a:r>
            <a:r>
              <a:rPr lang="ru-RU" sz="1050" dirty="0"/>
              <a:t>. В марте спрос ощутимо вырос за счет ранней весны в ряде регионов, и на второй неделе месяца часть продавцов сообщили, что уже распродали все свои объемы ПВД. Как следствие, цены у выросли за неделю по некоторым позициям полиэтилена на 2,000-4,000 руб. за тонну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555220" y="3888808"/>
            <a:ext cx="4274452" cy="36992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АНАЛИЗ ЦЕН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74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38481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ЕДЛОЖЕНИЕ  ИНВЕСТОРУ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495470" y="886896"/>
            <a:ext cx="2143536" cy="10341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rgbClr val="820000"/>
                </a:solidFill>
              </a:rPr>
              <a:t>90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н руб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отребность в финансировании</a:t>
            </a:r>
            <a:endParaRPr lang="en-U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проект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14326" y="4843647"/>
            <a:ext cx="8505824" cy="1063466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effectLst/>
        </p:spPr>
        <p:txBody>
          <a:bodyPr wrap="square" lIns="108000" tIns="108000" rIns="108000" bIns="108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6213" indent="-176213" algn="just">
              <a:lnSpc>
                <a:spcPct val="114000"/>
              </a:lnSpc>
              <a:spcAft>
                <a:spcPts val="300"/>
              </a:spcAft>
              <a:buClr>
                <a:schemeClr val="accent1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4000"/>
              </a:lnSpc>
              <a:spcAft>
                <a:spcPts val="300"/>
              </a:spcAft>
              <a:buClr>
                <a:schemeClr val="tx2">
                  <a:lumMod val="75000"/>
                </a:schemeClr>
              </a:buClr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редита в объеме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63 млн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ублей на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ет под не более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8,5%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в рублях, с отсрочкой выплаты суммы основного долга на 24 месяца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14325" y="4787588"/>
            <a:ext cx="8505828" cy="405012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УСЛОВИЯ </a:t>
            </a:r>
            <a:r>
              <a:rPr lang="ru-RU" sz="1200" b="1" dirty="0" smtClean="0">
                <a:solidFill>
                  <a:schemeClr val="bg1"/>
                </a:solidFill>
              </a:rPr>
              <a:t>ФИНАНСИРОВАНИЯ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725" y="4819391"/>
            <a:ext cx="341406" cy="341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2752271" y="2490630"/>
            <a:ext cx="201850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6,3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года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простой срок окупаемости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 (PBP)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752271" y="3578205"/>
            <a:ext cx="229582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8,1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лет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дисконтированный срок окупаемост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14325" y="3591052"/>
            <a:ext cx="2206053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22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%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внутренняя норма доходности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IRR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14325" y="2504480"/>
            <a:ext cx="2331087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48,96 </a:t>
            </a:r>
            <a:r>
              <a:rPr lang="ru-RU" sz="1200" b="1" dirty="0" smtClean="0">
                <a:solidFill>
                  <a:schemeClr val="accent3">
                    <a:lumMod val="50000"/>
                  </a:schemeClr>
                </a:solidFill>
              </a:rPr>
              <a:t>млн руб</a:t>
            </a:r>
            <a:r>
              <a:rPr lang="ru-RU" sz="1200" b="1" dirty="0">
                <a:solidFill>
                  <a:schemeClr val="accent3">
                    <a:lumMod val="50000"/>
                  </a:schemeClr>
                </a:solidFill>
              </a:rPr>
              <a:t>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чистая приведенная стоимость (</a:t>
            </a: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NPV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131911" y="2504480"/>
            <a:ext cx="83869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4400" b="1" dirty="0">
                <a:solidFill>
                  <a:schemeClr val="accent3">
                    <a:lumMod val="50000"/>
                  </a:schemeClr>
                </a:solidFill>
              </a:rPr>
              <a:t>4</a:t>
            </a: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,3</a:t>
            </a:r>
            <a:endParaRPr lang="ru-RU" sz="44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V/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466725" y="4604807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5235758" y="2491800"/>
            <a:ext cx="1638590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28,4</a:t>
            </a:r>
            <a:r>
              <a:rPr lang="ru-RU" sz="1200" b="1" dirty="0" smtClean="0">
                <a:solidFill>
                  <a:srgbClr val="526DB0">
                    <a:lumMod val="50000"/>
                  </a:srgbClr>
                </a:solidFill>
              </a:rPr>
              <a:t>млн </a:t>
            </a:r>
            <a:r>
              <a:rPr lang="ru-RU" sz="1200" b="1" dirty="0">
                <a:solidFill>
                  <a:srgbClr val="526DB0">
                    <a:lumMod val="50000"/>
                  </a:srgbClr>
                </a:solidFill>
              </a:rPr>
              <a:t>руб.</a:t>
            </a: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endParaRPr lang="ru-RU" sz="11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205107" y="3577931"/>
            <a:ext cx="1116011" cy="8540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49,5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100" b="1" dirty="0">
                <a:solidFill>
                  <a:schemeClr val="accent3">
                    <a:lumMod val="50000"/>
                  </a:schemeClr>
                </a:solidFill>
              </a:rPr>
              <a:t>EBITDA</a:t>
            </a:r>
            <a:r>
              <a:rPr lang="ru-RU" sz="1100" b="1" dirty="0">
                <a:solidFill>
                  <a:schemeClr val="accent3">
                    <a:lumMod val="50000"/>
                  </a:schemeClr>
                </a:solidFill>
              </a:rPr>
              <a:t>, %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131911" y="3593380"/>
            <a:ext cx="1095172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ru-RU" sz="4400" b="1" dirty="0" smtClean="0">
                <a:solidFill>
                  <a:schemeClr val="accent3">
                    <a:lumMod val="50000"/>
                  </a:schemeClr>
                </a:solidFill>
              </a:rPr>
              <a:t>1,27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en-US" sz="1200" b="1" dirty="0">
                <a:solidFill>
                  <a:schemeClr val="accent3">
                    <a:lumMod val="50000"/>
                  </a:schemeClr>
                </a:solidFill>
              </a:rPr>
              <a:t>PI</a:t>
            </a:r>
            <a:endParaRPr lang="ru-RU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450249" y="2257023"/>
            <a:ext cx="8353425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68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7792209"/>
              </p:ext>
            </p:extLst>
          </p:nvPr>
        </p:nvGraphicFramePr>
        <p:xfrm>
          <a:off x="1902757" y="822266"/>
          <a:ext cx="5673700" cy="5827587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576713"/>
                <a:gridCol w="2125683"/>
                <a:gridCol w="1971304"/>
              </a:tblGrid>
              <a:tr h="583570"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Налог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/>
                        <a:t>Реестр  инвестиционных проектов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ИП</a:t>
                      </a:r>
                    </a:p>
                  </a:txBody>
                  <a:tcPr marL="76655" marR="76655" marT="40325" marB="40325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42177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%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ru-RU" sz="1100" b="1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 %</a:t>
                      </a:r>
                      <a:r>
                        <a:rPr lang="ru-RU" sz="1100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с 2025 года)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0 %</a:t>
                      </a:r>
                    </a:p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0D7F4">
                        <a:alpha val="20000"/>
                      </a:srgbClr>
                    </a:solidFill>
                  </a:tcPr>
                </a:tc>
              </a:tr>
              <a:tr h="132282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3,5 %* 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на срок от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1 до 4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 лет в 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*действует до</a:t>
                      </a:r>
                      <a:r>
                        <a:rPr lang="ru-RU" sz="1100" baseline="0" dirty="0" smtClean="0">
                          <a:effectLst/>
                          <a:latin typeface="+mn-lt"/>
                        </a:rPr>
                        <a:t> 01.01.2023 г.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06846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13,5 %</a:t>
                      </a:r>
                      <a:endParaRPr lang="ru-RU" sz="800" b="1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/>
                          <a:latin typeface="+mn-lt"/>
                        </a:rPr>
                        <a:t>до 01.01.2027  либо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                          до 01.01.2029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зависимости</a:t>
                      </a:r>
                      <a:r>
                        <a:rPr lang="ru-RU" sz="1100" b="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effectLst/>
                          <a:latin typeface="+mn-lt"/>
                        </a:rPr>
                        <a:t>от объема инвестиций</a:t>
                      </a:r>
                      <a:endParaRPr lang="ru-RU" sz="11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FBFE"/>
                    </a:solidFill>
                  </a:tcPr>
                </a:tc>
              </a:tr>
              <a:tr h="117012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освобождение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smtClean="0">
                          <a:effectLst/>
                          <a:latin typeface="+mn-lt"/>
                        </a:rPr>
                        <a:t>от 1 до 3 лет в зависимости от объема инвестиций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  <a:tr h="75121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  <a:alpha val="20000"/>
                      </a:schemeClr>
                    </a:solidFill>
                  </a:tcPr>
                </a:tc>
              </a:tr>
              <a:tr h="57809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/>
                    </a:p>
                  </a:txBody>
                  <a:tcPr marL="76655" marR="76655" marT="40325" marB="40325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нет льготы</a:t>
                      </a:r>
                      <a:endParaRPr lang="ru-RU" sz="1100" b="0" i="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76655" marR="76655" marT="40325" marB="403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0F6"/>
                    </a:solidFill>
                  </a:tcPr>
                </a:tc>
              </a:tr>
            </a:tbl>
          </a:graphicData>
        </a:graphic>
      </p:graphicFrame>
      <p:sp>
        <p:nvSpPr>
          <p:cNvPr id="19" name="Скругленный прямоугольник 18"/>
          <p:cNvSpPr/>
          <p:nvPr/>
        </p:nvSpPr>
        <p:spPr>
          <a:xfrm>
            <a:off x="1987597" y="4210837"/>
            <a:ext cx="1352768" cy="105506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имущество организаций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987597" y="5329579"/>
            <a:ext cx="1352768" cy="69258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анспортный налог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967837" y="1562225"/>
            <a:ext cx="498950" cy="241147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лог на прибыль организаций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533836" y="2862138"/>
            <a:ext cx="786769" cy="1197966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иональный бюджет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553596" y="1520654"/>
            <a:ext cx="786769" cy="1190751"/>
          </a:xfrm>
          <a:prstGeom prst="roundRect">
            <a:avLst/>
          </a:prstGeom>
          <a:solidFill>
            <a:srgbClr val="ECFBFE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vert270"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едеральный бюджет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987597" y="6085839"/>
            <a:ext cx="1352768" cy="5173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78297" tIns="39149" rIns="78297" bIns="3914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емельный налог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314324" y="172522"/>
            <a:ext cx="5075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МЕРЫ ГОСУДАРСТВЕННОЙ ПОДДЕРЖКИ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205107" y="215919"/>
            <a:ext cx="3787891" cy="276999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bg1"/>
                </a:solidFill>
              </a:rPr>
              <a:t>Калужская область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327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2"/>
            <a:ext cx="9144000" cy="71437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14325" y="172522"/>
            <a:ext cx="2933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ОНТАК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-7" y="2477711"/>
            <a:ext cx="9144003" cy="234315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 lIns="72000" tIns="72000" rIns="72000" bIns="72000">
            <a:noAutofit/>
          </a:bodyPr>
          <a:lstStyle/>
          <a:p>
            <a:pPr marL="176213" indent="-176213" algn="just">
              <a:lnSpc>
                <a:spcPct val="114000"/>
              </a:lnSpc>
              <a:spcAft>
                <a:spcPts val="600"/>
              </a:spcAft>
              <a:buClr>
                <a:schemeClr val="tx2">
                  <a:lumMod val="75000"/>
                </a:schemeClr>
              </a:buClr>
              <a:buFont typeface="_Entypo" panose="02000503000000000000" pitchFamily="2" charset="0"/>
              <a:buChar char=""/>
            </a:pPr>
            <a:endParaRPr lang="ru-RU" sz="1050" dirty="0">
              <a:solidFill>
                <a:schemeClr val="accent3">
                  <a:lumMod val="50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-3" y="247771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820861"/>
            <a:ext cx="9144000" cy="0"/>
          </a:xfrm>
          <a:prstGeom prst="line">
            <a:avLst/>
          </a:prstGeom>
          <a:ln w="158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949223"/>
              </p:ext>
            </p:extLst>
          </p:nvPr>
        </p:nvGraphicFramePr>
        <p:xfrm>
          <a:off x="2089439" y="2681538"/>
          <a:ext cx="6610349" cy="1968116"/>
        </p:xfrm>
        <a:graphic>
          <a:graphicData uri="http://schemas.openxmlformats.org/drawingml/2006/table">
            <a:tbl>
              <a:tblPr bandRow="1">
                <a:tableStyleId>{8FD4443E-F989-4FC4-A0C8-D5A2AF1F390B}</a:tableStyleId>
              </a:tblPr>
              <a:tblGrid>
                <a:gridCol w="20002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1009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2642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Инициатор проекта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лужская</a:t>
                      </a:r>
                      <a:r>
                        <a:rPr lang="ru-RU" sz="14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ласть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05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Контактные  данные</a:t>
                      </a:r>
                      <a:endParaRPr lang="ru-RU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2000" marR="108000" marT="36000" marB="3600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понова Екатерина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Руководитель</a:t>
                      </a: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направления по работе с инвесторами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ГАУ «АРРКО»</a:t>
                      </a:r>
                      <a:endParaRPr lang="ru-RU" sz="140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Тел</a:t>
                      </a:r>
                      <a:r>
                        <a:rPr lang="ru-RU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7 (915) 892 22 02</a:t>
                      </a:r>
                      <a:endParaRPr lang="ru-RU" sz="1400" kern="1200" baseline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e</a:t>
                      </a:r>
                      <a:r>
                        <a:rPr lang="ru-RU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-</a:t>
                      </a: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mail</a:t>
                      </a:r>
                      <a:r>
                        <a:rPr lang="en-US" sz="1400" kern="12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 </a:t>
                      </a:r>
                      <a:r>
                        <a:rPr lang="en-AU" sz="14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@arrko.ru</a:t>
                      </a:r>
                      <a:endParaRPr lang="ru-RU" sz="14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AU" sz="14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vestkaluga.com</a:t>
                      </a:r>
                      <a:r>
                        <a:rPr lang="en-AU" sz="1400" dirty="0" smtClean="0"/>
                        <a:t>/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72000" marT="3600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89" y="2919190"/>
            <a:ext cx="890810" cy="89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620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XKasBbkUyno4HtC4UC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GIfq90EabiZXEcJw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kGiSfSmE6HwKvhxclw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YEblKkEWxSmMS1W1X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itTwFdsUiUPjOBDWSs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y6iNPMJEmiEr0_qtNK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XSSwCU00a7SIqFp7nP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LFdjAkA0e6XovsX12j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AU3dKQdEasAUhuNBfo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tkTVwy30.hVjvC_eKG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XAl0Oc0qjH.QnI_gq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nDoZayUqGUoTNWF91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dRznt9BkWHGkTuhZFG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SBQToDfk27MU0WjAkN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hluksM8UG786FXIhVn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c5sJPnnEeWrhihNCk2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SZPHYcwkGFHotVPwAh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5f8nwfcEGhLGSoZwtM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aS.Ww2zEKOmsK2P2XG9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nnHjHjjECkHby5t39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M1rB.ckyQzBM8RKi6Eg"/>
</p:tagLst>
</file>

<file path=ppt/theme/theme1.xml><?xml version="1.0" encoding="utf-8"?>
<a:theme xmlns:a="http://schemas.openxmlformats.org/drawingml/2006/main" name="Тема Office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HeliosCond">
      <a:majorFont>
        <a:latin typeface="HeliosCond"/>
        <a:ea typeface=""/>
        <a:cs typeface=""/>
      </a:majorFont>
      <a:minorFont>
        <a:latin typeface="HeliosCond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3303</TotalTime>
  <Words>730</Words>
  <Application>Microsoft Office PowerPoint</Application>
  <PresentationFormat>Экран (4:3)</PresentationFormat>
  <Paragraphs>180</Paragraphs>
  <Slides>8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_Entypo</vt:lpstr>
      <vt:lpstr>Calibri</vt:lpstr>
      <vt:lpstr>Myriad Pro Cond</vt:lpstr>
      <vt:lpstr>Times New Roman</vt:lpstr>
      <vt:lpstr>Tahoma</vt:lpstr>
      <vt:lpstr>HeliosCond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</dc:creator>
  <cp:lastModifiedBy>Симачев Дмитрий Александрович</cp:lastModifiedBy>
  <cp:revision>166</cp:revision>
  <cp:lastPrinted>2020-03-12T13:36:58Z</cp:lastPrinted>
  <dcterms:created xsi:type="dcterms:W3CDTF">2020-02-13T13:38:48Z</dcterms:created>
  <dcterms:modified xsi:type="dcterms:W3CDTF">2020-03-27T11:18:22Z</dcterms:modified>
</cp:coreProperties>
</file>